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pt-BR" altLang="en-US" dirty="0"/>
              <a:t>Evite desligamentos inesperados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pt-BR" altLang="en-US" dirty="0"/>
              <a:t>Sensor de desgaste da corrente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pt-BR" sz="800" dirty="0">
                <a:solidFill>
                  <a:srgbClr val="000000"/>
                </a:solidFill>
              </a:rPr>
              <a:t>Manutenção, Segurança e Ergonomia</a:t>
            </a:r>
            <a:endParaRPr sz="800" kern="0" dirty="0"/>
          </a:p>
          <a:p>
            <a:pPr lvl="0" fontAlgn="base">
              <a:spcAft>
                <a:spcPct val="0"/>
              </a:spcAft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Oceano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Hydra,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Atlantic,HD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Asia, Aqua</a:t>
            </a:r>
            <a:r>
              <a:rPr lang="en-GB" altLang="fr-FR" sz="800" dirty="0">
                <a:solidFill>
                  <a:srgbClr val="000000"/>
                </a:solidFill>
              </a:rPr>
              <a:t>, NDE (also in competitor machine)</a:t>
            </a:r>
            <a:endParaRPr lang="en-GB" altLang="fr-FR" sz="800" noProof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VRB-047</a:t>
            </a:r>
            <a:endParaRPr sz="800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93925"/>
            <a:ext cx="3890963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e constante do desgaste da corrente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ha o controle sobre o cronograma de intervenção para substituição da corrente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48212" y="3654775"/>
            <a:ext cx="3858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Instalação de sensores para medir o desgaste da corrente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A675732-5BD5-4CBA-BD6F-C1F12A89C0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15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C36E85B7-2B2E-4EE3-8FEF-05530D2E59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27C7D24-DED9-434E-BAC4-C4AB18B82CCD}"/>
              </a:ext>
            </a:extLst>
          </p:cNvPr>
          <p:cNvCxnSpPr>
            <a:cxnSpLocks/>
            <a:stCxn id="17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B1F01C9-9F4F-4D60-B18E-88948B8D29D9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09A4FD6-686F-43AC-93C6-E4AFCC47F27B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2E5654F-165F-4171-BB2B-A259E5CAB541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3</TotalTime>
  <Words>77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Evite desligamentos inesperad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3</cp:revision>
  <dcterms:created xsi:type="dcterms:W3CDTF">2018-02-10T17:04:39Z</dcterms:created>
  <dcterms:modified xsi:type="dcterms:W3CDTF">2021-06-21T13:3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39:18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